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3136740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540034" y="1170070"/>
            <a:ext cx="1071436" cy="307777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3406734" y="157952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540036" y="1954012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3406734" y="202073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540036" y="239522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3406734" y="2461944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540036" y="283643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3406734" y="290315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540036" y="327764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3406734" y="3344370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540036" y="3718855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3406734" y="3785583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540036" y="416006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3406734" y="422678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540036" y="4601279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3406734" y="466799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540036" y="504248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3406734" y="510920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540036" y="548369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540036" y="157952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540036" y="202073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540036" y="2461947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540036" y="290315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540036" y="334437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540036" y="3785583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540036" y="422679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540036" y="4667999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540036" y="510920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540036" y="5550426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3406734" y="5550426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532367" y="1477847"/>
            <a:ext cx="3553794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6962961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4379181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7246097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4379180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7246097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4379180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7246097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4379180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7246097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4379180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7246097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4379180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7246097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4379180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7246097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4379180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7246097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4379180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7246097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4379180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4379181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4379181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4379181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4379181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4379181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4379181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4379181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4379181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4379181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4379181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7246097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4371710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0770748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8186968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1053884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8186967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1053884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8186967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1053884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8186967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1053884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8186967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1053884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8186967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1053884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8186967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1053884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8186967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1053884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8186967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1053884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8186967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8186968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8186968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8186968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8186968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8186968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8186968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8186968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8186968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8186968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8186968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1053884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8179497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0</TotalTime>
  <Words>131</Words>
  <Application>Microsoft Office PowerPoint</Application>
  <PresentationFormat>Widescreen</PresentationFormat>
  <Paragraphs>6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2</cp:revision>
  <dcterms:created xsi:type="dcterms:W3CDTF">2021-03-31T02:49:57Z</dcterms:created>
  <dcterms:modified xsi:type="dcterms:W3CDTF">2025-10-16T11:14:48Z</dcterms:modified>
  <cp:category/>
</cp:coreProperties>
</file>